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65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3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3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587a49378303a9b505eda3b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74FCE6D-4BC9-442B-8A58-F51C1066AF8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zh-CN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FZZhunYuan-M02S" panose="03000509000000000000" pitchFamily="65" charset="-122"/>
                  <a:ea typeface="FZZhunYuan-M02S" panose="03000509000000000000" pitchFamily="65" charset="-122"/>
                </a:rPr>
                <a:t>价值和益处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2804"/>
              <a:ext cx="3889375" cy="36659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zh-CN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FZZhunYuan-M02S" panose="03000509000000000000" pitchFamily="65" charset="-122"/>
                  <a:ea typeface="FZZhunYuan-M02S" panose="03000509000000000000" pitchFamily="65" charset="-122"/>
                  <a:cs typeface="Arial" charset="0"/>
                </a:rPr>
                <a:t>描述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优化您的生产能耗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zh-CN">
                <a:latin typeface="FZZhunYuan-M02S" panose="03000509000000000000" pitchFamily="65" charset="-122"/>
                <a:ea typeface="FZZhunYuan-M02S" panose="03000509000000000000" pitchFamily="65" charset="-122"/>
              </a:rPr>
              <a:t>电耗测量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32023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价值：</a:t>
            </a:r>
            <a:r>
              <a:rPr lang="zh-CN" sz="80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提高效率</a:t>
            </a:r>
            <a:r>
              <a:rPr lang="fr-FR" altLang="zh-CN" sz="80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, </a:t>
            </a:r>
            <a:r>
              <a:rPr lang="zh-CN" altLang="fr-FR" sz="800" noProof="1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优化成本</a:t>
            </a:r>
            <a:endParaRPr lang="zh-CN" sz="800" dirty="0">
              <a:solidFill>
                <a:srgbClr val="000000"/>
              </a:solidFill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设备：</a:t>
            </a:r>
            <a:r>
              <a:rPr lang="zh-CN" sz="800" dirty="0">
                <a:solidFill>
                  <a:srgbClr val="000000"/>
                </a:solidFill>
                <a:latin typeface="+mn-lt"/>
                <a:ea typeface="FZZhunYuan-M02S" panose="03000509000000000000" pitchFamily="65" charset="-122"/>
              </a:rPr>
              <a:t>S2</a:t>
            </a:r>
            <a:r>
              <a:rPr lang="zh-CN" sz="80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吹瓶机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产品目录代码：</a:t>
            </a:r>
            <a:r>
              <a:rPr lang="zh-CN" sz="800" dirty="0">
                <a:solidFill>
                  <a:srgbClr val="000000"/>
                </a:solidFill>
                <a:latin typeface="+mn-lt"/>
                <a:ea typeface="FZZhunYuan-M02S" panose="03000509000000000000" pitchFamily="65" charset="-122"/>
              </a:rPr>
              <a:t>91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51878"/>
            <a:ext cx="3823487" cy="54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在HMI主页上显示电耗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需要安装新版</a:t>
            </a:r>
            <a:r>
              <a:rPr lang="zh-CN" sz="1200" dirty="0">
                <a:ea typeface="FZZhunYuan-M02S" panose="03000509000000000000" pitchFamily="65" charset="-122"/>
              </a:rPr>
              <a:t>PLC/HMI</a:t>
            </a: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软件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69" y="2151878"/>
            <a:ext cx="3677612" cy="2066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1">
              <a:spcBef>
                <a:spcPts val="300"/>
              </a:spcBef>
            </a:pPr>
            <a:r>
              <a:rPr lang="zh-CN" sz="120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 可评估吹瓶工艺配方对电耗的影响</a:t>
            </a:r>
          </a:p>
          <a:p>
            <a:pPr marL="0" lvl="1">
              <a:spcBef>
                <a:spcPts val="300"/>
              </a:spcBef>
            </a:pPr>
            <a:r>
              <a:rPr lang="zh-CN" sz="120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 可监测瞬时电耗和平均电耗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6CBD06E-9A3E-4715-8B2F-4133C3DADF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3584" y="3668930"/>
            <a:ext cx="1430870" cy="163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787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62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FZZhunYuan-M02S</vt:lpstr>
      <vt:lpstr>宋体</vt:lpstr>
      <vt:lpstr>Arial</vt:lpstr>
      <vt:lpstr>Wingdings</vt:lpstr>
      <vt:lpstr>1_NewSidel_Template_4x3_with add layouts</vt:lpstr>
      <vt:lpstr>think-cell Folie</vt:lpstr>
      <vt:lpstr>优化您的生产能耗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7</cp:revision>
  <dcterms:created xsi:type="dcterms:W3CDTF">2018-02-10T17:04:39Z</dcterms:created>
  <dcterms:modified xsi:type="dcterms:W3CDTF">2018-12-13T15:1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